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98" r:id="rId2"/>
    <p:sldId id="377" r:id="rId3"/>
    <p:sldId id="356" r:id="rId4"/>
    <p:sldId id="379" r:id="rId5"/>
    <p:sldId id="364" r:id="rId6"/>
    <p:sldId id="370" r:id="rId7"/>
    <p:sldId id="374" r:id="rId8"/>
    <p:sldId id="375" r:id="rId9"/>
    <p:sldId id="359" r:id="rId10"/>
    <p:sldId id="360" r:id="rId11"/>
    <p:sldId id="361" r:id="rId12"/>
    <p:sldId id="369" r:id="rId13"/>
    <p:sldId id="365" r:id="rId14"/>
    <p:sldId id="363" r:id="rId15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4A6A"/>
    <a:srgbClr val="2BF944"/>
    <a:srgbClr val="FFFF00"/>
    <a:srgbClr val="FFFF66"/>
    <a:srgbClr val="F88EA2"/>
    <a:srgbClr val="F293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34" autoAdjust="0"/>
    <p:restoredTop sz="71203" autoAdjust="0"/>
  </p:normalViewPr>
  <p:slideViewPr>
    <p:cSldViewPr>
      <p:cViewPr>
        <p:scale>
          <a:sx n="106" d="100"/>
          <a:sy n="106" d="100"/>
        </p:scale>
        <p:origin x="-1764" y="-33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7A2DDC-8794-48D9-9CDE-D3F55356034E}" type="datetimeFigureOut">
              <a:rPr lang="ru-RU" smtClean="0"/>
              <a:pPr/>
              <a:t>03.04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FBA7AD-4455-4584-9206-4401E2CC1D4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18547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A42B1-BBA1-4B5A-A33D-0417AAD61DCA}" type="datetimeFigureOut">
              <a:rPr lang="ru-RU" smtClean="0"/>
              <a:pPr/>
              <a:t>03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D5C31-6C68-458B-9541-AA7AF98A94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60168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A42B1-BBA1-4B5A-A33D-0417AAD61DCA}" type="datetimeFigureOut">
              <a:rPr lang="ru-RU" smtClean="0"/>
              <a:pPr/>
              <a:t>03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D5C31-6C68-458B-9541-AA7AF98A94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65580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A42B1-BBA1-4B5A-A33D-0417AAD61DCA}" type="datetimeFigureOut">
              <a:rPr lang="ru-RU" smtClean="0"/>
              <a:pPr/>
              <a:t>03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D5C31-6C68-458B-9541-AA7AF98A94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84006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A42B1-BBA1-4B5A-A33D-0417AAD61DCA}" type="datetimeFigureOut">
              <a:rPr lang="ru-RU" smtClean="0"/>
              <a:pPr/>
              <a:t>03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D5C31-6C68-458B-9541-AA7AF98A94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15136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A42B1-BBA1-4B5A-A33D-0417AAD61DCA}" type="datetimeFigureOut">
              <a:rPr lang="ru-RU" smtClean="0"/>
              <a:pPr/>
              <a:t>03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D5C31-6C68-458B-9541-AA7AF98A94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17004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A42B1-BBA1-4B5A-A33D-0417AAD61DCA}" type="datetimeFigureOut">
              <a:rPr lang="ru-RU" smtClean="0"/>
              <a:pPr/>
              <a:t>03.04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D5C31-6C68-458B-9541-AA7AF98A94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4144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A42B1-BBA1-4B5A-A33D-0417AAD61DCA}" type="datetimeFigureOut">
              <a:rPr lang="ru-RU" smtClean="0"/>
              <a:pPr/>
              <a:t>03.04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D5C31-6C68-458B-9541-AA7AF98A94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69214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A42B1-BBA1-4B5A-A33D-0417AAD61DCA}" type="datetimeFigureOut">
              <a:rPr lang="ru-RU" smtClean="0"/>
              <a:pPr/>
              <a:t>03.04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D5C31-6C68-458B-9541-AA7AF98A94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93607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A42B1-BBA1-4B5A-A33D-0417AAD61DCA}" type="datetimeFigureOut">
              <a:rPr lang="ru-RU" smtClean="0"/>
              <a:pPr/>
              <a:t>03.04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D5C31-6C68-458B-9541-AA7AF98A94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89499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A42B1-BBA1-4B5A-A33D-0417AAD61DCA}" type="datetimeFigureOut">
              <a:rPr lang="ru-RU" smtClean="0"/>
              <a:pPr/>
              <a:t>03.04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D5C31-6C68-458B-9541-AA7AF98A94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83409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A42B1-BBA1-4B5A-A33D-0417AAD61DCA}" type="datetimeFigureOut">
              <a:rPr lang="ru-RU" smtClean="0"/>
              <a:pPr/>
              <a:t>03.04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D5C31-6C68-458B-9541-AA7AF98A94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98733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5A42B1-BBA1-4B5A-A33D-0417AAD61DCA}" type="datetimeFigureOut">
              <a:rPr lang="ru-RU" smtClean="0"/>
              <a:pPr/>
              <a:t>03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DD5C31-6C68-458B-9541-AA7AF98A94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380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w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2.pn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4.jpeg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Relationship Id="rId9" Type="http://schemas.openxmlformats.org/officeDocument/2006/relationships/image" Target="../media/image2.w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2.wmf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2.wmf"/><Relationship Id="rId4" Type="http://schemas.openxmlformats.org/officeDocument/2006/relationships/image" Target="../media/image30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image" Target="../media/image4.jpeg"/><Relationship Id="rId7" Type="http://schemas.openxmlformats.org/officeDocument/2006/relationships/image" Target="../media/image3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31.jpeg"/><Relationship Id="rId5" Type="http://schemas.openxmlformats.org/officeDocument/2006/relationships/hyperlink" Target="http://www.mfwo.ru/" TargetMode="External"/><Relationship Id="rId4" Type="http://schemas.openxmlformats.org/officeDocument/2006/relationships/hyperlink" Target="mailto:OKlementieva@wildorchid.ru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2.w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2.wmf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2.w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2.w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jpeg"/><Relationship Id="rId7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2.wmf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4.png"/><Relationship Id="rId4" Type="http://schemas.openxmlformats.org/officeDocument/2006/relationships/image" Target="../media/image2.w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5.png"/><Relationship Id="rId5" Type="http://schemas.openxmlformats.org/officeDocument/2006/relationships/image" Target="../media/image2.wmf"/><Relationship Id="rId4" Type="http://schemas.openxmlformats.org/officeDocument/2006/relationships/image" Target="../media/image4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image" Target="../media/image4.jpeg"/><Relationship Id="rId7" Type="http://schemas.openxmlformats.org/officeDocument/2006/relationships/image" Target="../media/image1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Подзаголовок 5"/>
          <p:cNvSpPr>
            <a:spLocks noGrp="1"/>
          </p:cNvSpPr>
          <p:nvPr>
            <p:ph type="subTitle" idx="1"/>
          </p:nvPr>
        </p:nvSpPr>
        <p:spPr>
          <a:noFill/>
        </p:spPr>
        <p:txBody>
          <a:bodyPr/>
          <a:lstStyle/>
          <a:p>
            <a:r>
              <a:rPr lang="en-US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t>PRODUCTION PLATFORM</a:t>
            </a:r>
            <a:endParaRPr lang="ru-RU" dirty="0">
              <a:solidFill>
                <a:schemeClr val="accent2">
                  <a:lumMod val="75000"/>
                </a:schemeClr>
              </a:solidFill>
              <a:latin typeface="+mj-lt"/>
            </a:endParaRPr>
          </a:p>
        </p:txBody>
      </p:sp>
      <p:pic>
        <p:nvPicPr>
          <p:cNvPr id="3" name="Picture 3" descr="C:\Users\nallakhverdyan\AppData\Local\Microsoft\Windows\Temporary Internet Files\Content.Outlook\O1YEG3DT\WO_Для презентации-0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187" b="48950"/>
          <a:stretch>
            <a:fillRect/>
          </a:stretch>
        </p:blipFill>
        <p:spPr bwMode="auto">
          <a:xfrm>
            <a:off x="107504" y="260648"/>
            <a:ext cx="9036496" cy="360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 descr="плашки_1 .wmf"/>
          <p:cNvPicPr/>
          <p:nvPr/>
        </p:nvPicPr>
        <p:blipFill>
          <a:blip r:embed="rId3" cstate="print"/>
          <a:srcRect l="66252"/>
          <a:stretch>
            <a:fillRect/>
          </a:stretch>
        </p:blipFill>
        <p:spPr>
          <a:xfrm>
            <a:off x="3059832" y="2132856"/>
            <a:ext cx="2952328" cy="707132"/>
          </a:xfrm>
          <a:prstGeom prst="rect">
            <a:avLst/>
          </a:prstGeom>
        </p:spPr>
      </p:pic>
      <p:pic>
        <p:nvPicPr>
          <p:cNvPr id="11" name="Рисунок 10" descr="плашки цвет-01.png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475656" y="5733256"/>
            <a:ext cx="7668344" cy="724170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nallakhverdyan\AppData\Local\Microsoft\Windows\Temporary Internet Files\Content.Outlook\O1YEG3DT\WO_Для презентации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69"/>
          <a:stretch>
            <a:fillRect/>
          </a:stretch>
        </p:blipFill>
        <p:spPr bwMode="auto">
          <a:xfrm>
            <a:off x="0" y="116632"/>
            <a:ext cx="9144000" cy="6192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7544" y="105273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55576" y="908720"/>
            <a:ext cx="69847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</a:rPr>
              <a:t>Additional capability</a:t>
            </a:r>
            <a:endParaRPr lang="ru-RU" sz="240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1043609" y="1484784"/>
          <a:ext cx="6624736" cy="4536504"/>
        </p:xfrm>
        <a:graphic>
          <a:graphicData uri="http://schemas.openxmlformats.org/drawingml/2006/table">
            <a:tbl>
              <a:tblPr/>
              <a:tblGrid>
                <a:gridCol w="2192008"/>
                <a:gridCol w="4432728"/>
              </a:tblGrid>
              <a:tr h="369251">
                <a:tc>
                  <a:txBody>
                    <a:bodyPr/>
                    <a:lstStyle/>
                    <a:p>
                      <a:pPr algn="ctr" rtl="0"/>
                      <a:r>
                        <a:rPr lang="en-US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ype of equipment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Example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450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 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aser</a:t>
                      </a:r>
                    </a:p>
                    <a:p>
                      <a:pPr algn="l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275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Molding machine </a:t>
                      </a:r>
                    </a:p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(molding cups of knitted fabrics and textile materials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1" name="Picture 2" descr="ACA01C2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91880" y="2132856"/>
            <a:ext cx="1800200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3" descr="3622B93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80112" y="2132856"/>
            <a:ext cx="1728192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283968" y="4149080"/>
            <a:ext cx="2376264" cy="1656184"/>
          </a:xfrm>
          <a:prstGeom prst="rect">
            <a:avLst/>
          </a:prstGeom>
        </p:spPr>
      </p:pic>
      <p:pic>
        <p:nvPicPr>
          <p:cNvPr id="14" name="Рисунок 13" descr="плашки_1 .wmf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259632" y="476672"/>
            <a:ext cx="7488832" cy="48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181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nallakhverdyan\AppData\Local\Microsoft\Windows\Temporary Internet Files\Content.Outlook\O1YEG3DT\WO_Для презентации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69"/>
          <a:stretch>
            <a:fillRect/>
          </a:stretch>
        </p:blipFill>
        <p:spPr bwMode="auto">
          <a:xfrm>
            <a:off x="0" y="116632"/>
            <a:ext cx="9144000" cy="6192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7544" y="105273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1115616" y="1700808"/>
          <a:ext cx="6624736" cy="4392488"/>
        </p:xfrm>
        <a:graphic>
          <a:graphicData uri="http://schemas.openxmlformats.org/drawingml/2006/table">
            <a:tbl>
              <a:tblPr/>
              <a:tblGrid>
                <a:gridCol w="2232248"/>
                <a:gridCol w="4392488"/>
              </a:tblGrid>
              <a:tr h="223347">
                <a:tc>
                  <a:txBody>
                    <a:bodyPr/>
                    <a:lstStyle/>
                    <a:p>
                      <a:pPr algn="ctr" rtl="0"/>
                      <a:r>
                        <a:rPr lang="en-US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ype of equipment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Example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1988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Embroidery machine with program control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1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. 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mbroidery regular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9325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2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. 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bined embroidery (embroidery satin + sequins)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389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3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. 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rds embroidery with beads, sequins, bugle beads</a:t>
                      </a:r>
                    </a:p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1" name="Picture 7" descr="959AA3CC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24128" y="2204864"/>
            <a:ext cx="14859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4" descr="9B57607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79912" y="2204864"/>
            <a:ext cx="1504950" cy="985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5" descr="FE13D3A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851920" y="3573016"/>
            <a:ext cx="1512168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 descr="1697836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796136" y="3573016"/>
            <a:ext cx="1515204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16" descr="3EDD33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851920" y="4941168"/>
            <a:ext cx="1584176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Прямоугольник 15"/>
          <p:cNvSpPr/>
          <p:nvPr/>
        </p:nvSpPr>
        <p:spPr>
          <a:xfrm>
            <a:off x="2942656" y="1052736"/>
            <a:ext cx="282622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</a:rPr>
              <a:t>Additional capability</a:t>
            </a:r>
            <a:endParaRPr lang="ru-RU" sz="2400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7" name="Рисунок 16" descr="плашки_1 .wmf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259632" y="476672"/>
            <a:ext cx="7488832" cy="48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181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nallakhverdyan\AppData\Local\Microsoft\Windows\Temporary Internet Files\Content.Outlook\O1YEG3DT\WO_Для презентации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69"/>
          <a:stretch>
            <a:fillRect/>
          </a:stretch>
        </p:blipFill>
        <p:spPr bwMode="auto">
          <a:xfrm>
            <a:off x="0" y="116632"/>
            <a:ext cx="9144000" cy="6480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7544" y="105273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115616" y="908720"/>
            <a:ext cx="66247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2">
                    <a:lumMod val="75000"/>
                  </a:schemeClr>
                </a:solidFill>
              </a:rPr>
              <a:t>Cutting capacity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1265" name="Picture 1" descr="R:\Департамент швейного производства\Общая\Выставка\IMG_5952 - 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5576" y="4725144"/>
            <a:ext cx="2808312" cy="1899517"/>
          </a:xfrm>
          <a:prstGeom prst="rect">
            <a:avLst/>
          </a:prstGeom>
          <a:noFill/>
        </p:spPr>
      </p:pic>
      <p:pic>
        <p:nvPicPr>
          <p:cNvPr id="11266" name="Picture 2" descr="R:\Департамент швейного производства\Общая\Выставка\IMG_5781-2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652120" y="4774565"/>
            <a:ext cx="2664296" cy="1822787"/>
          </a:xfrm>
          <a:prstGeom prst="rect">
            <a:avLst/>
          </a:prstGeom>
          <a:noFill/>
        </p:spPr>
      </p:pic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683568" y="1340769"/>
          <a:ext cx="7704856" cy="3230490"/>
        </p:xfrm>
        <a:graphic>
          <a:graphicData uri="http://schemas.openxmlformats.org/drawingml/2006/table">
            <a:tbl>
              <a:tblPr/>
              <a:tblGrid>
                <a:gridCol w="3483597"/>
                <a:gridCol w="4221259"/>
              </a:tblGrid>
              <a:tr h="33612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Location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Smolensk district, Gagarin, Russia, 180 km. away from Moscow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24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Number of operators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6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24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utting tool, q-ty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24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Additional facilities, q-ty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652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efinition of faciliti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С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loth-cutting machine GERBER CUTTER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GTxL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- 2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psc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.,  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                                                             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С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loth spreading machine GERBER SPREADER XLS 125 - 2 pcs.,                                                                    Drawing-cutting machine KURIS - 2 pcs.,                                                                      Drawing-cutting machine HOFFMAN - 1 pcs.,     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                                    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Laser cut machine RABBIT 600*900,                                          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             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Fabric Measuring-and-inspecting machine* - 2 pcs.,                                                                              Plotter INFINITY,            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                                                                                 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utomatic pattern lay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program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(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ccuNes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Gerber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15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ain specializa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iddle and sheer cutting, including textile fabric and lac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0842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64242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* Width of the material - not more than 1,70 m.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424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* Roll diameter - not more than 0,4 m.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6424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* Roll weight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- not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ore than 60 kg.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pic>
        <p:nvPicPr>
          <p:cNvPr id="11" name="Рисунок 10" descr="плашки_1 .wmf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331640" y="491143"/>
            <a:ext cx="7488832" cy="48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181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nallakhverdyan\AppData\Local\Microsoft\Windows\Temporary Internet Files\Content.Outlook\O1YEG3DT\WO_Для презентации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69"/>
          <a:stretch>
            <a:fillRect/>
          </a:stretch>
        </p:blipFill>
        <p:spPr bwMode="auto">
          <a:xfrm>
            <a:off x="0" y="116632"/>
            <a:ext cx="9144000" cy="5904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7544" y="105273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483768" y="908720"/>
            <a:ext cx="24482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Our offers</a:t>
            </a:r>
            <a:endParaRPr lang="ru-RU" sz="2400" b="1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79512" y="1700808"/>
            <a:ext cx="712879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q"/>
            </a:pPr>
            <a:r>
              <a:rPr lang="en-US" sz="1600" dirty="0" smtClean="0">
                <a:latin typeface="Calibri" pitchFamily="34" charset="0"/>
              </a:rPr>
              <a:t>  Goods made on commission</a:t>
            </a:r>
          </a:p>
          <a:p>
            <a:endParaRPr lang="ru-RU" sz="1600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q"/>
            </a:pPr>
            <a:r>
              <a:rPr lang="en-US" sz="1600" dirty="0" smtClean="0">
                <a:latin typeface="Calibri" pitchFamily="34" charset="0"/>
              </a:rPr>
              <a:t>  Product development (pattern making, grading)</a:t>
            </a:r>
            <a:endParaRPr lang="ru-RU" sz="1600" dirty="0" smtClean="0">
              <a:latin typeface="Calibri" pitchFamily="34" charset="0"/>
            </a:endParaRPr>
          </a:p>
          <a:p>
            <a:endParaRPr lang="ru-RU" sz="1600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q"/>
            </a:pPr>
            <a:r>
              <a:rPr lang="en-US" sz="1600" dirty="0" smtClean="0">
                <a:latin typeface="Calibri" pitchFamily="34" charset="0"/>
              </a:rPr>
              <a:t>  </a:t>
            </a:r>
            <a:r>
              <a:rPr lang="en-US" sz="1600" dirty="0" smtClean="0"/>
              <a:t>Development of technical documentation for production</a:t>
            </a:r>
          </a:p>
          <a:p>
            <a:endParaRPr lang="ru-RU" sz="1600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q"/>
            </a:pPr>
            <a:r>
              <a:rPr lang="en-US" sz="1600" dirty="0" smtClean="0">
                <a:latin typeface="Calibri" pitchFamily="34" charset="0"/>
              </a:rPr>
              <a:t>  Selection of materials</a:t>
            </a:r>
          </a:p>
          <a:p>
            <a:endParaRPr lang="ru-RU" sz="1600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q"/>
            </a:pPr>
            <a:r>
              <a:rPr lang="en-US" sz="1600" dirty="0" smtClean="0">
                <a:latin typeface="Calibri" pitchFamily="34" charset="0"/>
              </a:rPr>
              <a:t>   Cutting </a:t>
            </a:r>
            <a:endParaRPr lang="ru-RU" sz="1600" dirty="0" smtClean="0">
              <a:latin typeface="Calibri" pitchFamily="34" charset="0"/>
            </a:endParaRPr>
          </a:p>
        </p:txBody>
      </p:sp>
      <p:pic>
        <p:nvPicPr>
          <p:cNvPr id="12" name="Рисунок 11" descr="Стенд_900х2400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236296" y="1340768"/>
            <a:ext cx="1715983" cy="4680520"/>
          </a:xfrm>
          <a:prstGeom prst="rect">
            <a:avLst/>
          </a:prstGeom>
        </p:spPr>
      </p:pic>
      <p:pic>
        <p:nvPicPr>
          <p:cNvPr id="7" name="Рисунок 6" descr="плашки_1 .wmf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259632" y="476672"/>
            <a:ext cx="7488832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181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nallakhverdyan\AppData\Local\Microsoft\Windows\Temporary Internet Files\Content.Outlook\O1YEG3DT\WO_Для презентации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69"/>
          <a:stretch>
            <a:fillRect/>
          </a:stretch>
        </p:blipFill>
        <p:spPr bwMode="auto">
          <a:xfrm>
            <a:off x="0" y="116632"/>
            <a:ext cx="9144000" cy="5832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7544" y="105273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699792" y="908720"/>
            <a:ext cx="276159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</a:rPr>
              <a:t>Contact Information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051720" y="1484784"/>
            <a:ext cx="4572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None/>
            </a:pPr>
            <a:r>
              <a:rPr lang="en-US" dirty="0" smtClean="0"/>
              <a:t>Russia</a:t>
            </a:r>
            <a:r>
              <a:rPr lang="ru-RU" dirty="0" smtClean="0"/>
              <a:t>, </a:t>
            </a:r>
            <a:r>
              <a:rPr lang="en-US" dirty="0" smtClean="0"/>
              <a:t>Moscow</a:t>
            </a:r>
          </a:p>
          <a:p>
            <a:pPr>
              <a:buNone/>
            </a:pPr>
            <a:r>
              <a:rPr lang="en-US" dirty="0" smtClean="0"/>
              <a:t>Tel</a:t>
            </a:r>
            <a:r>
              <a:rPr lang="ru-RU" dirty="0" smtClean="0"/>
              <a:t>.: +7 (495) 225-24-25</a:t>
            </a:r>
          </a:p>
          <a:p>
            <a:pPr>
              <a:buNone/>
            </a:pPr>
            <a:r>
              <a:rPr lang="en-US" dirty="0" smtClean="0"/>
              <a:t>Fax</a:t>
            </a:r>
            <a:r>
              <a:rPr lang="ru-RU" dirty="0" smtClean="0"/>
              <a:t>: +7 (495) 644-34-00</a:t>
            </a:r>
          </a:p>
          <a:p>
            <a:pPr>
              <a:buNone/>
            </a:pPr>
            <a:r>
              <a:rPr lang="en-US" dirty="0" smtClean="0"/>
              <a:t>Mobile</a:t>
            </a:r>
            <a:r>
              <a:rPr lang="ru-RU" dirty="0" smtClean="0"/>
              <a:t>: +7 (968) 712-59-80</a:t>
            </a:r>
          </a:p>
          <a:p>
            <a:pPr>
              <a:buNone/>
            </a:pPr>
            <a:r>
              <a:rPr lang="ru-RU" dirty="0" err="1" smtClean="0"/>
              <a:t>E-mail</a:t>
            </a:r>
            <a:r>
              <a:rPr lang="ru-RU" dirty="0" smtClean="0"/>
              <a:t>:</a:t>
            </a:r>
            <a:r>
              <a:rPr lang="ru-RU" dirty="0" smtClean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n-US" b="1" dirty="0" err="1" smtClean="0">
                <a:solidFill>
                  <a:schemeClr val="bg1">
                    <a:lumMod val="50000"/>
                  </a:schemeClr>
                </a:solidFill>
                <a:hlinkClick r:id="rId4"/>
              </a:rPr>
              <a:t>OKlementieva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hlinkClick r:id="rId4"/>
              </a:rPr>
              <a:t>@</a:t>
            </a:r>
            <a:r>
              <a:rPr lang="ru-RU" b="1" dirty="0" err="1" smtClean="0">
                <a:solidFill>
                  <a:schemeClr val="bg1">
                    <a:lumMod val="50000"/>
                  </a:schemeClr>
                </a:solidFill>
                <a:hlinkClick r:id="rId4"/>
              </a:rPr>
              <a:t>wildorchid.ru</a:t>
            </a:r>
            <a:endParaRPr lang="en-US" b="1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US" dirty="0" smtClean="0"/>
              <a:t>Web</a:t>
            </a:r>
            <a:r>
              <a:rPr lang="ru-RU" dirty="0" smtClean="0"/>
              <a:t>: </a:t>
            </a:r>
            <a:r>
              <a:rPr lang="en-US" b="1" dirty="0" smtClean="0">
                <a:hlinkClick r:id="rId5"/>
              </a:rPr>
              <a:t>www.mfwo.ru</a:t>
            </a:r>
            <a:endParaRPr lang="en-US" b="1" dirty="0" smtClean="0"/>
          </a:p>
          <a:p>
            <a:endParaRPr lang="ru-RU" dirty="0" smtClean="0"/>
          </a:p>
          <a:p>
            <a:endParaRPr lang="ru-RU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3" name="Рисунок 12" descr="Triada_Открытка - 2_150х100_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004048" y="3284984"/>
            <a:ext cx="3744416" cy="2592288"/>
          </a:xfrm>
          <a:prstGeom prst="rect">
            <a:avLst/>
          </a:prstGeom>
        </p:spPr>
      </p:pic>
      <p:pic>
        <p:nvPicPr>
          <p:cNvPr id="14" name="Рисунок 13" descr="IMG_4629 - 2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23528" y="3284984"/>
            <a:ext cx="3816424" cy="2592288"/>
          </a:xfrm>
          <a:prstGeom prst="rect">
            <a:avLst/>
          </a:prstGeom>
        </p:spPr>
      </p:pic>
      <p:pic>
        <p:nvPicPr>
          <p:cNvPr id="11" name="Рисунок 10" descr="плашки_1 .wmf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259632" y="476673"/>
            <a:ext cx="7560840" cy="43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181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nallakhverdyan\AppData\Local\Microsoft\Windows\Temporary Internet Files\Content.Outlook\O1YEG3DT\WO_Для презентации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69"/>
          <a:stretch>
            <a:fillRect/>
          </a:stretch>
        </p:blipFill>
        <p:spPr bwMode="auto">
          <a:xfrm>
            <a:off x="0" y="404664"/>
            <a:ext cx="9144000" cy="5832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7544" y="1052736"/>
            <a:ext cx="7776864" cy="4320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83568" y="1196752"/>
            <a:ext cx="77768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</a:rPr>
              <a:t>About us</a:t>
            </a:r>
            <a:endParaRPr lang="ru-RU" sz="24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95536" y="2276872"/>
            <a:ext cx="849694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 smtClean="0">
              <a:latin typeface="Calibri" pitchFamily="34" charset="0"/>
            </a:endParaRPr>
          </a:p>
          <a:p>
            <a:r>
              <a:rPr lang="en-US" dirty="0" smtClean="0"/>
              <a:t>Our specialization is lingerie, </a:t>
            </a:r>
            <a:r>
              <a:rPr lang="en-US" dirty="0" err="1" smtClean="0"/>
              <a:t>homewear</a:t>
            </a:r>
            <a:r>
              <a:rPr lang="en-US" dirty="0" smtClean="0"/>
              <a:t> and beachwear’s development and production.</a:t>
            </a:r>
          </a:p>
          <a:p>
            <a:r>
              <a:rPr lang="en-US" dirty="0" smtClean="0"/>
              <a:t>We produce products for «Wild Orchid», «Bustier» and «Defile» retail chains.</a:t>
            </a:r>
            <a:endParaRPr lang="ru-RU" dirty="0" smtClean="0"/>
          </a:p>
          <a:p>
            <a:r>
              <a:rPr lang="en-US" dirty="0" smtClean="0"/>
              <a:t>We produce 2 </a:t>
            </a:r>
            <a:r>
              <a:rPr lang="en-US" dirty="0" err="1" smtClean="0"/>
              <a:t>mln</a:t>
            </a:r>
            <a:r>
              <a:rPr lang="en-US" dirty="0" smtClean="0"/>
              <a:t>. pcs. per year. </a:t>
            </a:r>
            <a:endParaRPr lang="ru-RU" dirty="0" smtClean="0"/>
          </a:p>
          <a:p>
            <a:r>
              <a:rPr lang="en-US" dirty="0" smtClean="0"/>
              <a:t>We have production facilities in Russia and in Ukraine. </a:t>
            </a:r>
            <a:endParaRPr lang="ru-RU" dirty="0"/>
          </a:p>
        </p:txBody>
      </p:sp>
      <p:pic>
        <p:nvPicPr>
          <p:cNvPr id="14" name="Рисунок 13" descr="плашки_1 .wmf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259632" y="692696"/>
            <a:ext cx="7488832" cy="489585"/>
          </a:xfrm>
          <a:prstGeom prst="rect">
            <a:avLst/>
          </a:prstGeom>
        </p:spPr>
      </p:pic>
      <p:pic>
        <p:nvPicPr>
          <p:cNvPr id="11" name="Рисунок 10" descr="BU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55576" y="4653136"/>
            <a:ext cx="1800200" cy="720080"/>
          </a:xfrm>
          <a:prstGeom prst="rect">
            <a:avLst/>
          </a:prstGeom>
        </p:spPr>
      </p:pic>
      <p:pic>
        <p:nvPicPr>
          <p:cNvPr id="15" name="Рисунок 14" descr="WO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419872" y="4293096"/>
            <a:ext cx="1800200" cy="1152128"/>
          </a:xfrm>
          <a:prstGeom prst="rect">
            <a:avLst/>
          </a:prstGeom>
        </p:spPr>
      </p:pic>
      <p:pic>
        <p:nvPicPr>
          <p:cNvPr id="16" name="Рисунок 15" descr="DE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300192" y="4509120"/>
            <a:ext cx="1584176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181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nallakhverdyan\AppData\Local\Microsoft\Windows\Temporary Internet Files\Content.Outlook\O1YEG3DT\WO_Для презентации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69"/>
          <a:stretch>
            <a:fillRect/>
          </a:stretch>
        </p:blipFill>
        <p:spPr bwMode="auto">
          <a:xfrm>
            <a:off x="0" y="188640"/>
            <a:ext cx="9144000" cy="5832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7544" y="105273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83568" y="980728"/>
            <a:ext cx="80648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</a:rPr>
              <a:t>Production capacity of our factories</a:t>
            </a:r>
            <a:endParaRPr lang="ru-RU" sz="2400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30723" name="Picture 3" descr="R:\Департамент швейного производства\Общая\Выставка\IMG_6239-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3717032"/>
            <a:ext cx="3456384" cy="2213241"/>
          </a:xfrm>
          <a:prstGeom prst="rect">
            <a:avLst/>
          </a:prstGeom>
          <a:noFill/>
        </p:spPr>
      </p:pic>
      <p:pic>
        <p:nvPicPr>
          <p:cNvPr id="30724" name="Picture 4" descr="R:\Департамент швейного производства\Общая\Выставка\IMG_6044 - 2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02895" y="3717032"/>
            <a:ext cx="3661593" cy="2253803"/>
          </a:xfrm>
          <a:prstGeom prst="rect">
            <a:avLst/>
          </a:prstGeom>
          <a:noFill/>
        </p:spPr>
      </p:pic>
      <p:graphicFrame>
        <p:nvGraphicFramePr>
          <p:cNvPr id="11" name="Таблица 10"/>
          <p:cNvGraphicFramePr>
            <a:graphicFrameLocks noGrp="1"/>
          </p:cNvGraphicFramePr>
          <p:nvPr/>
        </p:nvGraphicFramePr>
        <p:xfrm>
          <a:off x="251520" y="1484784"/>
          <a:ext cx="8496943" cy="1844163"/>
        </p:xfrm>
        <a:graphic>
          <a:graphicData uri="http://schemas.openxmlformats.org/drawingml/2006/table">
            <a:tbl>
              <a:tblPr/>
              <a:tblGrid>
                <a:gridCol w="1731415"/>
                <a:gridCol w="2341914"/>
                <a:gridCol w="2161766"/>
                <a:gridCol w="2261848"/>
              </a:tblGrid>
              <a:tr h="29796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atabas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Gagari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Gol'evo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Ukrain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0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Space of sewing workshops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1450 sq. m.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280 sq. m.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450 sq. m.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041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Locatio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Smolensk district, Gagarin, Russia, 180 km. away from Moscow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Administrative building of Terminal Euroservice Co.Ltd, Golievo village, Krasnogorsk district, Moscow region, Russia, 5 km. away from Moscow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Lubny region, Ukraine, 190 km. away from Kiev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0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Number of operator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2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3" name="Рисунок 12" descr="плашки_1 .wmf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259632" y="476672"/>
            <a:ext cx="7488832" cy="48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181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nallakhverdyan\AppData\Local\Microsoft\Windows\Temporary Internet Files\Content.Outlook\O1YEG3DT\WO_Для презентации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69"/>
          <a:stretch>
            <a:fillRect/>
          </a:stretch>
        </p:blipFill>
        <p:spPr bwMode="auto">
          <a:xfrm>
            <a:off x="37601" y="328010"/>
            <a:ext cx="9144000" cy="5832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7544" y="105273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83568" y="980728"/>
            <a:ext cx="80648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</a:rPr>
              <a:t> Manufacturing cost</a:t>
            </a:r>
            <a:endParaRPr lang="ru-RU" sz="2400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3" name="Рисунок 12" descr="плашки_1 .wmf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259632" y="476672"/>
            <a:ext cx="7488832" cy="489585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42844" y="1428736"/>
            <a:ext cx="65008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dirty="0" smtClean="0">
                <a:latin typeface="Calibri" pitchFamily="34" charset="0"/>
              </a:rPr>
              <a:t>MOQ for Gagarin factory </a:t>
            </a:r>
            <a:r>
              <a:rPr lang="ru-RU" dirty="0" smtClean="0">
                <a:latin typeface="Calibri" pitchFamily="34" charset="0"/>
              </a:rPr>
              <a:t>- </a:t>
            </a:r>
            <a:r>
              <a:rPr lang="en-US" dirty="0" smtClean="0">
                <a:latin typeface="Calibri" pitchFamily="34" charset="0"/>
              </a:rPr>
              <a:t>1500 </a:t>
            </a:r>
            <a:r>
              <a:rPr lang="en-US" dirty="0" err="1" smtClean="0">
                <a:latin typeface="Calibri" pitchFamily="34" charset="0"/>
              </a:rPr>
              <a:t>pcs</a:t>
            </a:r>
            <a:r>
              <a:rPr lang="en-US" dirty="0" smtClean="0">
                <a:latin typeface="Calibri" pitchFamily="34" charset="0"/>
              </a:rPr>
              <a:t>., min for item – 500 </a:t>
            </a:r>
            <a:r>
              <a:rPr lang="en-US" dirty="0" err="1" smtClean="0">
                <a:latin typeface="Calibri" pitchFamily="34" charset="0"/>
              </a:rPr>
              <a:t>pcs</a:t>
            </a:r>
            <a:r>
              <a:rPr lang="en-US" dirty="0" smtClean="0">
                <a:latin typeface="Calibri" pitchFamily="34" charset="0"/>
              </a:rPr>
              <a:t>. </a:t>
            </a:r>
            <a:endParaRPr lang="ru-RU" dirty="0" smtClean="0">
              <a:latin typeface="Calibri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929058" y="1857364"/>
            <a:ext cx="9789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smtClean="0">
                <a:latin typeface="Calibri" pitchFamily="34" charset="0"/>
              </a:rPr>
              <a:t>Gagarin </a:t>
            </a:r>
            <a:endParaRPr lang="ru-RU" b="1" dirty="0" smtClean="0">
              <a:latin typeface="Calibri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453217" y="3244334"/>
            <a:ext cx="23756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smtClean="0">
                <a:latin typeface="Calibri" pitchFamily="34" charset="0"/>
              </a:rPr>
              <a:t> </a:t>
            </a:r>
            <a:endParaRPr lang="ru-RU" b="1" dirty="0" smtClean="0">
              <a:latin typeface="Calibri" pitchFamily="34" charset="0"/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0532298"/>
              </p:ext>
            </p:extLst>
          </p:nvPr>
        </p:nvGraphicFramePr>
        <p:xfrm>
          <a:off x="1619668" y="2276301"/>
          <a:ext cx="6264699" cy="1224137"/>
        </p:xfrm>
        <a:graphic>
          <a:graphicData uri="http://schemas.openxmlformats.org/drawingml/2006/table">
            <a:tbl>
              <a:tblPr/>
              <a:tblGrid>
                <a:gridCol w="1640757"/>
                <a:gridCol w="1566174"/>
                <a:gridCol w="1545601"/>
                <a:gridCol w="1512167"/>
              </a:tblGrid>
              <a:tr h="3574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Min</a:t>
                      </a:r>
                      <a:r>
                        <a:rPr lang="en-US" sz="120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per item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Range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500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-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999 </a:t>
                      </a:r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pcs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Range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0 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-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000 </a:t>
                      </a:r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pcs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Rang</a:t>
                      </a:r>
                      <a:r>
                        <a:rPr lang="en-US" sz="120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e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000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– and more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335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С</a:t>
                      </a:r>
                      <a:r>
                        <a:rPr lang="en-US" sz="1200" b="0" i="0" u="none" strike="noStrike" baseline="0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ost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per minute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,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RUB*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    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3.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.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 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8.50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335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MOQ,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pcs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,5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,0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,0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6" name="Rectangle 15"/>
          <p:cNvSpPr/>
          <p:nvPr/>
        </p:nvSpPr>
        <p:spPr>
          <a:xfrm>
            <a:off x="142876" y="3643314"/>
            <a:ext cx="67865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dirty="0" err="1" smtClean="0">
                <a:latin typeface="Calibri" pitchFamily="34" charset="0"/>
              </a:rPr>
              <a:t>Gol’evo</a:t>
            </a:r>
            <a:r>
              <a:rPr lang="en-US" dirty="0" smtClean="0">
                <a:latin typeface="Calibri" pitchFamily="34" charset="0"/>
              </a:rPr>
              <a:t> factory</a:t>
            </a:r>
            <a:endParaRPr lang="ru-RU" sz="1400" dirty="0" smtClean="0">
              <a:latin typeface="Calibri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929058" y="4000504"/>
            <a:ext cx="9531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err="1" smtClean="0">
                <a:latin typeface="Calibri" pitchFamily="34" charset="0"/>
              </a:rPr>
              <a:t>Gol’evo</a:t>
            </a:r>
            <a:r>
              <a:rPr lang="en-US" b="1" dirty="0" smtClean="0">
                <a:latin typeface="Calibri" pitchFamily="34" charset="0"/>
              </a:rPr>
              <a:t> </a:t>
            </a:r>
            <a:endParaRPr lang="ru-RU" b="1" dirty="0" smtClean="0">
              <a:latin typeface="Calibri" pitchFamily="34" charset="0"/>
            </a:endParaRPr>
          </a:p>
        </p:txBody>
      </p:sp>
      <p:graphicFrame>
        <p:nvGraphicFramePr>
          <p:cNvPr id="18" name="Table 10"/>
          <p:cNvGraphicFramePr>
            <a:graphicFrameLocks noGrp="1"/>
          </p:cNvGraphicFramePr>
          <p:nvPr/>
        </p:nvGraphicFramePr>
        <p:xfrm>
          <a:off x="2571736" y="4286256"/>
          <a:ext cx="3206931" cy="790782"/>
        </p:xfrm>
        <a:graphic>
          <a:graphicData uri="http://schemas.openxmlformats.org/drawingml/2006/table">
            <a:tbl>
              <a:tblPr/>
              <a:tblGrid>
                <a:gridCol w="1622755"/>
                <a:gridCol w="1584176"/>
              </a:tblGrid>
              <a:tr h="3574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Min</a:t>
                      </a:r>
                      <a:r>
                        <a:rPr lang="en-US" sz="120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per item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50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pcs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335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С</a:t>
                      </a:r>
                      <a:r>
                        <a:rPr lang="en-US" sz="1200" b="0" i="0" u="none" strike="noStrike" baseline="0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ost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per minute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,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RUB*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    20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.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9" name="Rectangle 18"/>
          <p:cNvSpPr/>
          <p:nvPr/>
        </p:nvSpPr>
        <p:spPr>
          <a:xfrm>
            <a:off x="214282" y="5572140"/>
            <a:ext cx="28712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latin typeface="Calibri" pitchFamily="34" charset="0"/>
              </a:rPr>
              <a:t> </a:t>
            </a:r>
            <a:r>
              <a:rPr lang="en-US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</a:rPr>
              <a:t>* Price in RUB (except VAT)</a:t>
            </a:r>
            <a:endParaRPr lang="ru-RU" b="1" dirty="0" smtClean="0">
              <a:solidFill>
                <a:schemeClr val="accent2">
                  <a:lumMod val="75000"/>
                </a:schemeClr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1181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nallakhverdyan\AppData\Local\Microsoft\Windows\Temporary Internet Files\Content.Outlook\O1YEG3DT\WO_Для презентации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69"/>
          <a:stretch>
            <a:fillRect/>
          </a:stretch>
        </p:blipFill>
        <p:spPr bwMode="auto">
          <a:xfrm>
            <a:off x="0" y="188640"/>
            <a:ext cx="9144000" cy="5832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7544" y="105273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181118" y="1052736"/>
            <a:ext cx="25594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</a:rPr>
              <a:t>Product categories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323528" y="1556790"/>
          <a:ext cx="8496944" cy="3573884"/>
        </p:xfrm>
        <a:graphic>
          <a:graphicData uri="http://schemas.openxmlformats.org/drawingml/2006/table">
            <a:tbl>
              <a:tblPr/>
              <a:tblGrid>
                <a:gridCol w="2736304"/>
                <a:gridCol w="1872208"/>
                <a:gridCol w="1944216"/>
                <a:gridCol w="1944216"/>
              </a:tblGrid>
              <a:tr h="3514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Type of products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Women's 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garmen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en's 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garmen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Children's 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garmen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856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Underwear *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>
                          <a:solidFill>
                            <a:srgbClr val="0070C0"/>
                          </a:solidFill>
                          <a:latin typeface="Bodoni MT Black"/>
                        </a:rPr>
                        <a:t>+</a:t>
                      </a: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>
                          <a:solidFill>
                            <a:srgbClr val="0070C0"/>
                          </a:solidFill>
                          <a:latin typeface="Bodoni MT Black"/>
                        </a:rPr>
                        <a:t>+</a:t>
                      </a: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>
                          <a:solidFill>
                            <a:srgbClr val="0070C0"/>
                          </a:solidFill>
                          <a:latin typeface="Bodoni MT Black"/>
                        </a:rPr>
                        <a:t>+</a:t>
                      </a: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856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Loungewea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>
                          <a:solidFill>
                            <a:srgbClr val="0070C0"/>
                          </a:solidFill>
                          <a:latin typeface="Bodoni MT Black"/>
                        </a:rPr>
                        <a:t>+</a:t>
                      </a: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>
                          <a:solidFill>
                            <a:srgbClr val="0070C0"/>
                          </a:solidFill>
                          <a:latin typeface="Bodoni MT Black"/>
                        </a:rPr>
                        <a:t>+</a:t>
                      </a: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>
                          <a:solidFill>
                            <a:srgbClr val="0070C0"/>
                          </a:solidFill>
                          <a:latin typeface="Bodoni MT Black"/>
                        </a:rPr>
                        <a:t>+</a:t>
                      </a: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856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Homewea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>
                          <a:solidFill>
                            <a:srgbClr val="0070C0"/>
                          </a:solidFill>
                          <a:latin typeface="Bodoni MT Black"/>
                        </a:rPr>
                        <a:t>+</a:t>
                      </a: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>
                          <a:solidFill>
                            <a:srgbClr val="0070C0"/>
                          </a:solidFill>
                          <a:latin typeface="Bodoni MT Black"/>
                        </a:rPr>
                        <a:t>+</a:t>
                      </a: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>
                          <a:solidFill>
                            <a:srgbClr val="0070C0"/>
                          </a:solidFill>
                          <a:latin typeface="Bodoni MT Black"/>
                        </a:rPr>
                        <a:t>+</a:t>
                      </a: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856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Sportswea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>
                          <a:solidFill>
                            <a:srgbClr val="0070C0"/>
                          </a:solidFill>
                          <a:latin typeface="Bodoni MT Black"/>
                        </a:rPr>
                        <a:t>+</a:t>
                      </a: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>
                          <a:solidFill>
                            <a:srgbClr val="0070C0"/>
                          </a:solidFill>
                          <a:latin typeface="Bodoni MT Black"/>
                        </a:rPr>
                        <a:t>+</a:t>
                      </a: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>
                          <a:solidFill>
                            <a:srgbClr val="0070C0"/>
                          </a:solidFill>
                          <a:latin typeface="Bodoni MT Black"/>
                        </a:rPr>
                        <a:t>+</a:t>
                      </a: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856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Accessories **</a:t>
                      </a: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>
                          <a:solidFill>
                            <a:srgbClr val="0070C0"/>
                          </a:solidFill>
                          <a:latin typeface="Bodoni MT Black"/>
                        </a:rPr>
                        <a:t>+</a:t>
                      </a: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>
                          <a:solidFill>
                            <a:srgbClr val="0070C0"/>
                          </a:solidFill>
                          <a:latin typeface="Bodoni MT Black"/>
                        </a:rPr>
                        <a:t>+</a:t>
                      </a: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>
                          <a:solidFill>
                            <a:srgbClr val="0070C0"/>
                          </a:solidFill>
                          <a:latin typeface="Bodoni MT Black"/>
                        </a:rPr>
                        <a:t>+</a:t>
                      </a:r>
                    </a:p>
                  </a:txBody>
                  <a:tcPr marL="5795" marR="5795" marT="579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733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795" marR="5795" marT="579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795" marR="5795" marT="579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795" marR="5795" marT="579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795" marR="5795" marT="579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35143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* Including swimwear</a:t>
                      </a:r>
                    </a:p>
                  </a:txBody>
                  <a:tcPr marL="5795" marR="5795" marT="579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795" marR="5795" marT="579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795" marR="5795" marT="579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795" marR="5795" marT="579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351437"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**Sleep masks, garters, beach bags, gloves, covers for mobile phones, etc. </a:t>
                      </a:r>
                    </a:p>
                  </a:txBody>
                  <a:tcPr marL="5795" marR="5795" marT="579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795" marR="5795" marT="579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pic>
        <p:nvPicPr>
          <p:cNvPr id="7" name="Рисунок 6" descr="плашки_1 .wmf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259632" y="476672"/>
            <a:ext cx="7488832" cy="48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181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nallakhverdyan\AppData\Local\Microsoft\Windows\Temporary Internet Files\Content.Outlook\O1YEG3DT\WO_Для презентации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69"/>
          <a:stretch>
            <a:fillRect/>
          </a:stretch>
        </p:blipFill>
        <p:spPr bwMode="auto">
          <a:xfrm>
            <a:off x="0" y="0"/>
            <a:ext cx="9144000" cy="6669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Рисунок 36" descr="плашки_1 .wmf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331640" y="404664"/>
            <a:ext cx="7488832" cy="489585"/>
          </a:xfrm>
          <a:prstGeom prst="rect">
            <a:avLst/>
          </a:prstGeom>
        </p:spPr>
      </p:pic>
      <p:sp>
        <p:nvSpPr>
          <p:cNvPr id="38" name="Прямоугольник 37"/>
          <p:cNvSpPr/>
          <p:nvPr/>
        </p:nvSpPr>
        <p:spPr>
          <a:xfrm>
            <a:off x="3233218" y="836712"/>
            <a:ext cx="249869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</a:rPr>
              <a:t>Range of products</a:t>
            </a:r>
            <a:endParaRPr lang="ru-RU" sz="2400" b="1" dirty="0">
              <a:solidFill>
                <a:schemeClr val="accent2">
                  <a:lumMod val="75000"/>
                </a:schemeClr>
              </a:solidFill>
              <a:latin typeface="Calibri" pitchFamily="34" charset="0"/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467544" y="1844824"/>
            <a:ext cx="8229600" cy="1143000"/>
          </a:xfrm>
        </p:spPr>
        <p:txBody>
          <a:bodyPr/>
          <a:lstStyle/>
          <a:p>
            <a:endParaRPr lang="ru-RU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  <p:pic>
        <p:nvPicPr>
          <p:cNvPr id="8" name="Content Placeholder 3" descr="C:\Users\yserebryakova\Desktop\Дикая Орхидея\Rus_gold_bevel.png"/>
          <p:cNvPicPr>
            <a:picLocks noGrp="1" noChangeAspect="1" noChangeArrowheads="1"/>
          </p:cNvPicPr>
          <p:nvPr>
            <p:ph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3356992"/>
            <a:ext cx="2046064" cy="918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2" descr="Defile-shop [преобразованный].png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 contrast="-40000"/>
                    </a14:imgEffect>
                  </a14:imgLayer>
                </a14:imgProps>
              </a:ext>
            </a:extLst>
          </a:blip>
          <a:srcRect b="19751"/>
          <a:stretch>
            <a:fillRect/>
          </a:stretch>
        </p:blipFill>
        <p:spPr bwMode="auto">
          <a:xfrm>
            <a:off x="6516216" y="3573016"/>
            <a:ext cx="2303748" cy="673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" descr="C:\Users\yserebryakova\Desktop\Бюстье\bustier_shop-color_brusnika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3572407"/>
            <a:ext cx="2293326" cy="563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Users\nallakhverdyan\AppData\Local\Microsoft\Windows\Temporary Internet Files\Content.Outlook\O1YEG3DT\WO_Для презентации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69"/>
          <a:stretch>
            <a:fillRect/>
          </a:stretch>
        </p:blipFill>
        <p:spPr bwMode="auto">
          <a:xfrm>
            <a:off x="0" y="0"/>
            <a:ext cx="9144000" cy="6669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7544" y="105273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691680" y="764704"/>
            <a:ext cx="61926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</a:rPr>
              <a:t>Range of products</a:t>
            </a:r>
            <a:endParaRPr lang="ru-RU" sz="2400" b="1" dirty="0">
              <a:solidFill>
                <a:schemeClr val="accent2">
                  <a:lumMod val="75000"/>
                </a:schemeClr>
              </a:solidFill>
              <a:latin typeface="Calibri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11560" y="1844825"/>
            <a:ext cx="80855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>
              <a:latin typeface="Calibri" panose="020F0502020204030204" pitchFamily="34" charset="0"/>
            </a:endParaRPr>
          </a:p>
        </p:txBody>
      </p:sp>
      <p:pic>
        <p:nvPicPr>
          <p:cNvPr id="15" name="Рисунок 14" descr="плашки_1 .wmf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259632" y="332656"/>
            <a:ext cx="7488832" cy="489585"/>
          </a:xfrm>
          <a:prstGeom prst="rect">
            <a:avLst/>
          </a:prstGeom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11560" y="1196752"/>
            <a:ext cx="7934325" cy="5200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7" name="Таблица 16"/>
          <p:cNvGraphicFramePr>
            <a:graphicFrameLocks noGrp="1"/>
          </p:cNvGraphicFramePr>
          <p:nvPr/>
        </p:nvGraphicFramePr>
        <p:xfrm>
          <a:off x="4148211" y="4128120"/>
          <a:ext cx="1828800" cy="762000"/>
        </p:xfrm>
        <a:graphic>
          <a:graphicData uri="http://schemas.openxmlformats.org/drawingml/2006/table">
            <a:tbl>
              <a:tblPr/>
              <a:tblGrid>
                <a:gridCol w="609600"/>
                <a:gridCol w="609600"/>
                <a:gridCol w="609600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18" name="TextBox 2"/>
          <p:cNvSpPr txBox="1"/>
          <p:nvPr/>
        </p:nvSpPr>
        <p:spPr>
          <a:xfrm>
            <a:off x="5926707" y="1484784"/>
            <a:ext cx="740051" cy="342900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/>
              <a:t>photo</a:t>
            </a:r>
          </a:p>
        </p:txBody>
      </p:sp>
      <p:sp>
        <p:nvSpPr>
          <p:cNvPr id="19" name="TextBox 5"/>
          <p:cNvSpPr txBox="1"/>
          <p:nvPr/>
        </p:nvSpPr>
        <p:spPr>
          <a:xfrm>
            <a:off x="7441596" y="1503834"/>
            <a:ext cx="762000" cy="264560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/>
              <a:t>photo</a:t>
            </a:r>
            <a:endParaRPr lang="ru-RU" sz="1400" b="1"/>
          </a:p>
        </p:txBody>
      </p:sp>
      <p:sp>
        <p:nvSpPr>
          <p:cNvPr id="20" name="TextBox 8"/>
          <p:cNvSpPr txBox="1"/>
          <p:nvPr/>
        </p:nvSpPr>
        <p:spPr>
          <a:xfrm>
            <a:off x="4624681" y="1351433"/>
            <a:ext cx="863876" cy="602274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00" b="1" dirty="0"/>
          </a:p>
          <a:p>
            <a:r>
              <a:rPr lang="en-US" sz="1400" b="1" dirty="0"/>
              <a:t>Produc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499992" y="1988840"/>
            <a:ext cx="1007351" cy="57606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/>
          </a:p>
          <a:p>
            <a:pPr algn="ctr"/>
            <a:r>
              <a:rPr lang="en-US" sz="1200" dirty="0" smtClean="0"/>
              <a:t>Moon-</a:t>
            </a:r>
            <a:endParaRPr lang="en-US" sz="1200" dirty="0"/>
          </a:p>
          <a:p>
            <a:pPr algn="ctr"/>
            <a:r>
              <a:rPr lang="en-US" sz="1200" dirty="0" smtClean="0"/>
              <a:t>Half bra</a:t>
            </a:r>
            <a:endParaRPr lang="ru-RU" sz="1200" dirty="0"/>
          </a:p>
        </p:txBody>
      </p:sp>
      <p:sp>
        <p:nvSpPr>
          <p:cNvPr id="22" name="TextBox 21"/>
          <p:cNvSpPr txBox="1"/>
          <p:nvPr/>
        </p:nvSpPr>
        <p:spPr>
          <a:xfrm>
            <a:off x="4486548" y="2780928"/>
            <a:ext cx="936104" cy="50268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/>
          </a:p>
          <a:p>
            <a:pPr algn="ctr"/>
            <a:r>
              <a:rPr lang="en-US" sz="1200" dirty="0"/>
              <a:t>Slip</a:t>
            </a:r>
            <a:endParaRPr lang="ru-RU" sz="1200" dirty="0"/>
          </a:p>
        </p:txBody>
      </p:sp>
      <p:sp>
        <p:nvSpPr>
          <p:cNvPr id="23" name="TextBox 23"/>
          <p:cNvSpPr txBox="1"/>
          <p:nvPr/>
        </p:nvSpPr>
        <p:spPr>
          <a:xfrm>
            <a:off x="4530509" y="3459353"/>
            <a:ext cx="828674" cy="50268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/>
          </a:p>
          <a:p>
            <a:pPr algn="ctr"/>
            <a:r>
              <a:rPr lang="en-US" sz="1200" dirty="0"/>
              <a:t>String</a:t>
            </a:r>
            <a:endParaRPr lang="ru-RU" sz="1200" dirty="0"/>
          </a:p>
        </p:txBody>
      </p:sp>
      <p:sp>
        <p:nvSpPr>
          <p:cNvPr id="24" name="TextBox 24"/>
          <p:cNvSpPr txBox="1"/>
          <p:nvPr/>
        </p:nvSpPr>
        <p:spPr>
          <a:xfrm>
            <a:off x="4486547" y="4222459"/>
            <a:ext cx="864096" cy="50268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/>
          </a:p>
          <a:p>
            <a:pPr algn="ctr"/>
            <a:r>
              <a:rPr lang="en-US" sz="1200" dirty="0"/>
              <a:t>Shorts</a:t>
            </a:r>
            <a:endParaRPr lang="ru-RU" sz="1200" dirty="0"/>
          </a:p>
        </p:txBody>
      </p:sp>
      <p:sp>
        <p:nvSpPr>
          <p:cNvPr id="25" name="TextBox 25"/>
          <p:cNvSpPr txBox="1"/>
          <p:nvPr/>
        </p:nvSpPr>
        <p:spPr>
          <a:xfrm>
            <a:off x="4515854" y="4807508"/>
            <a:ext cx="901211" cy="50268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/>
          </a:p>
          <a:p>
            <a:pPr algn="ctr"/>
            <a:r>
              <a:rPr lang="en-US" sz="1200" dirty="0"/>
              <a:t>Hipster</a:t>
            </a:r>
            <a:endParaRPr lang="ru-RU" sz="1200" dirty="0"/>
          </a:p>
        </p:txBody>
      </p:sp>
      <p:sp>
        <p:nvSpPr>
          <p:cNvPr id="26" name="TextBox 26"/>
          <p:cNvSpPr txBox="1"/>
          <p:nvPr/>
        </p:nvSpPr>
        <p:spPr>
          <a:xfrm>
            <a:off x="4508527" y="5562182"/>
            <a:ext cx="974481" cy="600808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/>
          </a:p>
          <a:p>
            <a:pPr algn="ctr"/>
            <a:r>
              <a:rPr lang="en-US" sz="1200" dirty="0"/>
              <a:t>Garter belt</a:t>
            </a:r>
            <a:endParaRPr lang="ru-RU" sz="1200" dirty="0"/>
          </a:p>
        </p:txBody>
      </p:sp>
      <p:sp>
        <p:nvSpPr>
          <p:cNvPr id="27" name="TextBox 2"/>
          <p:cNvSpPr txBox="1"/>
          <p:nvPr/>
        </p:nvSpPr>
        <p:spPr>
          <a:xfrm>
            <a:off x="1972149" y="1474119"/>
            <a:ext cx="740051" cy="342900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/>
              <a:t>photo</a:t>
            </a:r>
          </a:p>
        </p:txBody>
      </p:sp>
      <p:sp>
        <p:nvSpPr>
          <p:cNvPr id="28" name="TextBox 5"/>
          <p:cNvSpPr txBox="1"/>
          <p:nvPr/>
        </p:nvSpPr>
        <p:spPr>
          <a:xfrm>
            <a:off x="3487038" y="1493169"/>
            <a:ext cx="762000" cy="264560"/>
          </a:xfrm>
          <a:prstGeom prst="rect">
            <a:avLst/>
          </a:prstGeom>
          <a:solidFill>
            <a:schemeClr val="bg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/>
              <a:t>photo</a:t>
            </a:r>
            <a:endParaRPr lang="ru-RU" sz="1400" b="1" dirty="0"/>
          </a:p>
        </p:txBody>
      </p:sp>
      <p:sp>
        <p:nvSpPr>
          <p:cNvPr id="29" name="TextBox 8"/>
          <p:cNvSpPr txBox="1"/>
          <p:nvPr/>
        </p:nvSpPr>
        <p:spPr>
          <a:xfrm>
            <a:off x="670123" y="1340768"/>
            <a:ext cx="863876" cy="602274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00" b="1" dirty="0"/>
          </a:p>
          <a:p>
            <a:r>
              <a:rPr lang="en-US" sz="1400" b="1" dirty="0"/>
              <a:t>Product</a:t>
            </a:r>
          </a:p>
        </p:txBody>
      </p:sp>
      <p:sp>
        <p:nvSpPr>
          <p:cNvPr id="30" name="TextBox 14"/>
          <p:cNvSpPr txBox="1"/>
          <p:nvPr/>
        </p:nvSpPr>
        <p:spPr>
          <a:xfrm>
            <a:off x="670123" y="2060848"/>
            <a:ext cx="936104" cy="57606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/>
          </a:p>
          <a:p>
            <a:pPr algn="ctr"/>
            <a:r>
              <a:rPr lang="en-US" sz="1200" dirty="0" smtClean="0"/>
              <a:t>Push-up bra</a:t>
            </a:r>
            <a:endParaRPr lang="ru-RU" sz="1200" dirty="0"/>
          </a:p>
        </p:txBody>
      </p:sp>
      <p:sp>
        <p:nvSpPr>
          <p:cNvPr id="31" name="TextBox 30"/>
          <p:cNvSpPr txBox="1"/>
          <p:nvPr/>
        </p:nvSpPr>
        <p:spPr>
          <a:xfrm>
            <a:off x="670123" y="3501008"/>
            <a:ext cx="864096" cy="502940"/>
          </a:xfrm>
          <a:prstGeom prst="rect">
            <a:avLst/>
          </a:prstGeom>
          <a:solidFill>
            <a:schemeClr val="lt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/>
          </a:p>
          <a:p>
            <a:pPr algn="ctr"/>
            <a:r>
              <a:rPr lang="en-US" sz="1200" dirty="0"/>
              <a:t>Balconet</a:t>
            </a:r>
            <a:endParaRPr lang="ru-RU" sz="1200" dirty="0"/>
          </a:p>
        </p:txBody>
      </p:sp>
      <p:sp>
        <p:nvSpPr>
          <p:cNvPr id="32" name="TextBox 31"/>
          <p:cNvSpPr txBox="1"/>
          <p:nvPr/>
        </p:nvSpPr>
        <p:spPr>
          <a:xfrm>
            <a:off x="670123" y="2769163"/>
            <a:ext cx="933449" cy="58782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/>
          </a:p>
          <a:p>
            <a:pPr algn="ctr"/>
            <a:r>
              <a:rPr lang="en-US" sz="1200" dirty="0" smtClean="0"/>
              <a:t>Bustier</a:t>
            </a:r>
            <a:endParaRPr lang="ru-RU" sz="1200" dirty="0"/>
          </a:p>
        </p:txBody>
      </p:sp>
      <p:sp>
        <p:nvSpPr>
          <p:cNvPr id="33" name="TextBox 27"/>
          <p:cNvSpPr txBox="1"/>
          <p:nvPr/>
        </p:nvSpPr>
        <p:spPr>
          <a:xfrm>
            <a:off x="670123" y="4149080"/>
            <a:ext cx="864096" cy="576064"/>
          </a:xfrm>
          <a:prstGeom prst="rect">
            <a:avLst/>
          </a:prstGeom>
          <a:solidFill>
            <a:schemeClr val="lt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/>
          </a:p>
          <a:p>
            <a:pPr algn="ctr"/>
            <a:r>
              <a:rPr lang="en-US" sz="1200" dirty="0" smtClean="0"/>
              <a:t>Classic bra</a:t>
            </a:r>
            <a:endParaRPr lang="ru-RU" sz="1200" dirty="0"/>
          </a:p>
        </p:txBody>
      </p:sp>
      <p:sp>
        <p:nvSpPr>
          <p:cNvPr id="34" name="TextBox 28"/>
          <p:cNvSpPr txBox="1"/>
          <p:nvPr/>
        </p:nvSpPr>
        <p:spPr>
          <a:xfrm>
            <a:off x="683568" y="5589240"/>
            <a:ext cx="836000" cy="57882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/>
          </a:p>
          <a:p>
            <a:pPr algn="ctr"/>
            <a:r>
              <a:rPr lang="en-US" sz="1200" dirty="0" smtClean="0"/>
              <a:t>Triangle bra </a:t>
            </a:r>
          </a:p>
          <a:p>
            <a:pPr algn="ctr"/>
            <a:endParaRPr lang="ru-RU" sz="1200" dirty="0"/>
          </a:p>
        </p:txBody>
      </p:sp>
      <p:sp>
        <p:nvSpPr>
          <p:cNvPr id="35" name="TextBox 29"/>
          <p:cNvSpPr txBox="1"/>
          <p:nvPr/>
        </p:nvSpPr>
        <p:spPr>
          <a:xfrm>
            <a:off x="621766" y="4798920"/>
            <a:ext cx="828674" cy="50268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/>
          </a:p>
          <a:p>
            <a:pPr algn="ctr"/>
            <a:r>
              <a:rPr lang="en-US" sz="1200" dirty="0"/>
              <a:t>Garter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2818516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nallakhverdyan\AppData\Local\Microsoft\Windows\Temporary Internet Files\Content.Outlook\O1YEG3DT\WO_Для презентации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69"/>
          <a:stretch>
            <a:fillRect/>
          </a:stretch>
        </p:blipFill>
        <p:spPr bwMode="auto">
          <a:xfrm>
            <a:off x="107504" y="188640"/>
            <a:ext cx="9144000" cy="6546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7544" y="105273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619672" y="951111"/>
            <a:ext cx="56886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</a:rPr>
              <a:t>Range of products</a:t>
            </a:r>
            <a:endParaRPr lang="ru-RU" sz="2400" b="1" dirty="0">
              <a:solidFill>
                <a:schemeClr val="accent2">
                  <a:lumMod val="75000"/>
                </a:schemeClr>
              </a:solidFill>
              <a:latin typeface="Calibri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11560" y="1844825"/>
            <a:ext cx="80855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>
              <a:latin typeface="Calibri" panose="020F0502020204030204" pitchFamily="34" charset="0"/>
            </a:endParaRPr>
          </a:p>
        </p:txBody>
      </p:sp>
      <p:pic>
        <p:nvPicPr>
          <p:cNvPr id="10" name="Рисунок 9" descr="плашки_1 .wmf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259632" y="563151"/>
            <a:ext cx="7488832" cy="489585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3425" y="1392510"/>
            <a:ext cx="7677150" cy="527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40304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yserebryakova\Desktop\Бюстье\bustier_shop-color_brusnika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3572407"/>
            <a:ext cx="2293326" cy="563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C:\Users\nallakhverdyan\AppData\Local\Microsoft\Windows\Temporary Internet Files\Content.Outlook\O1YEG3DT\WO_Для презентации-0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69"/>
          <a:stretch>
            <a:fillRect/>
          </a:stretch>
        </p:blipFill>
        <p:spPr bwMode="auto">
          <a:xfrm>
            <a:off x="0" y="116632"/>
            <a:ext cx="9144000" cy="6624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7544" y="105273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475656" y="908720"/>
            <a:ext cx="583271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</a:rPr>
              <a:t>Range of products</a:t>
            </a:r>
            <a:endParaRPr lang="ru-RU" sz="2400" b="1" dirty="0">
              <a:solidFill>
                <a:schemeClr val="accent2">
                  <a:lumMod val="75000"/>
                </a:schemeClr>
              </a:solidFill>
              <a:latin typeface="Calibri" pitchFamily="34" charset="0"/>
            </a:endParaRPr>
          </a:p>
        </p:txBody>
      </p:sp>
      <p:pic>
        <p:nvPicPr>
          <p:cNvPr id="7" name="Рисунок 6" descr="плашки_1 .wmf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259632" y="476672"/>
            <a:ext cx="7488832" cy="489585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09613" y="1312118"/>
            <a:ext cx="7724775" cy="542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43310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nallakhverdyan\AppData\Local\Microsoft\Windows\Temporary Internet Files\Content.Outlook\O1YEG3DT\WO_Для презентации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69"/>
          <a:stretch>
            <a:fillRect/>
          </a:stretch>
        </p:blipFill>
        <p:spPr bwMode="auto">
          <a:xfrm>
            <a:off x="0" y="116632"/>
            <a:ext cx="9144000" cy="6192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7544" y="105273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55576" y="908720"/>
            <a:ext cx="69847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</a:rPr>
              <a:t>Additional capability</a:t>
            </a:r>
            <a:endParaRPr lang="ru-RU" sz="240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38" name="Таблица 37"/>
          <p:cNvGraphicFramePr>
            <a:graphicFrameLocks noGrp="1"/>
          </p:cNvGraphicFramePr>
          <p:nvPr/>
        </p:nvGraphicFramePr>
        <p:xfrm>
          <a:off x="1115616" y="1484784"/>
          <a:ext cx="6480720" cy="4392488"/>
        </p:xfrm>
        <a:graphic>
          <a:graphicData uri="http://schemas.openxmlformats.org/drawingml/2006/table">
            <a:tbl>
              <a:tblPr/>
              <a:tblGrid>
                <a:gridCol w="2145414"/>
                <a:gridCol w="4335306"/>
              </a:tblGrid>
              <a:tr h="382748">
                <a:tc>
                  <a:txBody>
                    <a:bodyPr/>
                    <a:lstStyle/>
                    <a:p>
                      <a:pPr algn="ctr" rtl="0"/>
                      <a:r>
                        <a:rPr lang="en-US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ype of equipment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Example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9551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Press for thermo appliqué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42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Ultrasonic machine for strass decorating (for any materials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39" name="Picture 12" descr="788BE36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63888" y="2204864"/>
            <a:ext cx="1776981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13" descr="118FC6A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80112" y="2204864"/>
            <a:ext cx="1656184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" name="Рисунок 40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491880" y="4077072"/>
            <a:ext cx="1872208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Рисунок 41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580112" y="4077072"/>
            <a:ext cx="1656184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0" descr="плашки_1 .wmf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259632" y="476672"/>
            <a:ext cx="7488832" cy="48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181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9oboblr0SyI4k_bX_cD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9oboblr0SyI4k_bX_c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9oboblr0SyI4k_bX_c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9oboblr0SyI4k_bX_c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9oboblr0SyI4k_bX_c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9oboblr0SyI4k_bX_c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9oboblr0SyI4k_bX_c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9oboblr0SyI4k_bX_c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9oboblr0SyI4k_bX_c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9oboblr0SyI4k_bX_c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9oboblr0SyI4k_bX_c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9oboblr0SyI4k_bX_c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9oboblr0SyI4k_bX_cD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27</TotalTime>
  <Words>611</Words>
  <Application>Microsoft Office PowerPoint</Application>
  <PresentationFormat>On-screen Show (4:3)</PresentationFormat>
  <Paragraphs>176</Paragraphs>
  <Slides>1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Тема Offi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газины модного и доступного женского белья, купальников  и домашней одежды.</dc:title>
  <dc:creator>Коломлин</dc:creator>
  <cp:lastModifiedBy>Львова Татьяна Александровна</cp:lastModifiedBy>
  <cp:revision>651</cp:revision>
  <cp:lastPrinted>2014-01-22T10:51:10Z</cp:lastPrinted>
  <dcterms:created xsi:type="dcterms:W3CDTF">2013-08-29T19:29:06Z</dcterms:created>
  <dcterms:modified xsi:type="dcterms:W3CDTF">2015-04-03T09:53:48Z</dcterms:modified>
</cp:coreProperties>
</file>